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 showGuides="1">
      <p:cViewPr>
        <p:scale>
          <a:sx n="42" d="100"/>
          <a:sy n="42" d="100"/>
        </p:scale>
        <p:origin x="1694" y="8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E25D1E-6AB2-E67A-F5D6-07F4A41625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35CA42-1740-A709-4AB9-E55ED11AAE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748A30-0DEA-F930-797F-5173A5765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ED0ACF-2627-97D3-7738-4DD5B4F2A5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8A69ED-017E-D953-3CE2-8343AA8D2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899943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DE6C9A-4ED3-5C76-105D-36DEF51BB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8E92EC-8E2D-1135-2683-8C31A2ABA4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0B59E8-C90A-68A9-A7C8-CECF13E368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47BF94-DAB1-DD0D-481A-DAECA38969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6246D5-EA27-9FBC-FDAE-133FA07CE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899403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E902019-C7A6-CF03-8290-02102505122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00A913-D9D6-AF77-EEDF-A4AEFDA512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9C2A81-44E0-0A8D-D86C-F3A29AFAC7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E63EC6-BF56-8164-26E4-91263BE56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167882-A3AE-2612-E5A8-BF82DE81AE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648340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FF6E7-C5E6-E62B-54BD-C582CF186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37A8FA-1547-6A56-9BA6-0028BD7472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EE2130-D747-5885-CB5C-ED7A01E46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61A579-5703-B88E-ED6A-03561FE12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314C82-EF32-F0E2-8A89-4C9B35099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7838957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5D8563-AD1D-188D-0462-FC8E8E820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7684FA-EEF8-5143-8A26-F584316701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5F8572-91F5-9A84-6846-3286F9AC3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79625C-BAED-76AB-29DD-10ECA6C13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BF072B-9EA6-DCDB-7747-E106BC7E3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8055146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70030-3114-FECD-3090-FF1E617EB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ABBE2D-5941-3ADE-4D0A-DF1C8DC027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CAF7BD5-F2CC-14EE-648E-ADF4FFB336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09A4228-E323-BBE6-022E-0C97F2C34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3A3B1E-0981-F834-F4FE-D5791A716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1F2F16-9450-13B7-BE83-3FBD4C286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148729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FE80C8-0356-1EC2-6859-2E92B50FA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B2C1E6-01F9-2D36-6AE4-8C1043A788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BC73C3-B1B5-E120-96AD-2E1D721856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D3261A-65FB-7C1E-96BD-902115253D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E59D0A-6FAE-9FA3-E2D8-C4D4C61D0E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C0B48F-CAF2-8BFB-1C67-04A294A03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C65A738-5649-67DC-DF1B-09156B5ED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682A4F-C595-8010-163C-40742B802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6138866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7466D-B3E8-DE84-1D64-3DC2AB5FEE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F815D1-5B2B-D287-B56D-38B1BD62F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0AD1F7-5BE9-1197-E73A-C88BCC326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2A467D-7E18-7B19-68E2-2F448AB459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6628644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A9E291-22F4-0682-C606-C2ACA32D9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B24640-81B0-A230-D282-B3BA801604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2ED2A-A60A-AEAA-3AAB-125912EBD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626707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B43BA3-B23B-DC4F-B4B6-59678BDF8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5F75D7-F22B-CF7B-6A85-5F3C50DA35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C4A788-FED8-46CA-2974-133E418963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1DAE8C-617E-A5BB-CA69-54823B001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58F702-AA3A-3AAC-C3E6-5577CC058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42DB44-BD4E-2649-FAA1-62106734D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688332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81D24-6682-E012-9398-A89B7C7B2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BDBEE7-29E3-56A8-DF8F-24DFBBB6AF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MY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F95641-7929-E7E7-A82D-F72211D1ED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C77A8F-F572-98F9-07A1-33EA8FF331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6CE84B-8BFC-66EF-2427-AC05A0E7E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987958-4157-45B8-E3E5-8E24191C5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819789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B9617B-022C-5BAF-83F6-700A3996FD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2D9207-C67E-3327-E3ED-029067DF98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17A394-7496-C270-84E5-B1A7D833E3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A8E8BA6-A3BD-4E80-ACC9-F51F1FD54E1D}" type="datetimeFigureOut">
              <a:rPr lang="en-MY" smtClean="0"/>
              <a:t>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A30F93-BCBE-B9B9-A702-47BDF034F1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D97104-8EEE-1412-CB82-D5FA4E1481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EAA2C-45E0-429C-BBAA-AAA81043D38D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523507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cartoon rocket with a blue and red object&#10;&#10;Description automatically generated with medium confidence">
            <a:extLst>
              <a:ext uri="{FF2B5EF4-FFF2-40B4-BE49-F238E27FC236}">
                <a16:creationId xmlns:a16="http://schemas.microsoft.com/office/drawing/2014/main" id="{4DE0BB5F-9CDE-CA46-822B-9ED8188928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866211">
            <a:off x="5111569" y="1597132"/>
            <a:ext cx="1999590" cy="1999590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4A071114-F7F0-A4EC-3D60-E8478673A17B}"/>
              </a:ext>
            </a:extLst>
          </p:cNvPr>
          <p:cNvSpPr/>
          <p:nvPr/>
        </p:nvSpPr>
        <p:spPr>
          <a:xfrm rot="4314755">
            <a:off x="3447313" y="4328507"/>
            <a:ext cx="1765780" cy="1802728"/>
          </a:xfrm>
          <a:custGeom>
            <a:avLst/>
            <a:gdLst>
              <a:gd name="connsiteX0" fmla="*/ 702824 w 1409544"/>
              <a:gd name="connsiteY0" fmla="*/ 1439037 h 1439037"/>
              <a:gd name="connsiteX1" fmla="*/ 425620 w 1409544"/>
              <a:gd name="connsiteY1" fmla="*/ 1291649 h 1439037"/>
              <a:gd name="connsiteX2" fmla="*/ 398515 w 1409544"/>
              <a:gd name="connsiteY2" fmla="*/ 1241712 h 1439037"/>
              <a:gd name="connsiteX3" fmla="*/ 349422 w 1409544"/>
              <a:gd name="connsiteY3" fmla="*/ 1243004 h 1439037"/>
              <a:gd name="connsiteX4" fmla="*/ 83178 w 1409544"/>
              <a:gd name="connsiteY4" fmla="*/ 1076633 h 1439037"/>
              <a:gd name="connsiteX5" fmla="*/ 49781 w 1409544"/>
              <a:gd name="connsiteY5" fmla="*/ 822962 h 1439037"/>
              <a:gd name="connsiteX6" fmla="*/ 57233 w 1409544"/>
              <a:gd name="connsiteY6" fmla="*/ 803005 h 1439037"/>
              <a:gd name="connsiteX7" fmla="*/ 44870 w 1409544"/>
              <a:gd name="connsiteY7" fmla="*/ 785656 h 1439037"/>
              <a:gd name="connsiteX8" fmla="*/ 11474 w 1409544"/>
              <a:gd name="connsiteY8" fmla="*/ 531985 h 1439037"/>
              <a:gd name="connsiteX9" fmla="*/ 70528 w 1409544"/>
              <a:gd name="connsiteY9" fmla="*/ 413095 h 1439037"/>
              <a:gd name="connsiteX10" fmla="*/ 108238 w 1409544"/>
              <a:gd name="connsiteY10" fmla="*/ 373346 h 1439037"/>
              <a:gd name="connsiteX11" fmla="*/ 123807 w 1409544"/>
              <a:gd name="connsiteY11" fmla="*/ 320811 h 1439037"/>
              <a:gd name="connsiteX12" fmla="*/ 197242 w 1409544"/>
              <a:gd name="connsiteY12" fmla="*/ 210224 h 1439037"/>
              <a:gd name="connsiteX13" fmla="*/ 433627 w 1409544"/>
              <a:gd name="connsiteY13" fmla="*/ 112310 h 1439037"/>
              <a:gd name="connsiteX14" fmla="*/ 454833 w 1409544"/>
              <a:gd name="connsiteY14" fmla="*/ 114343 h 1439037"/>
              <a:gd name="connsiteX15" fmla="*/ 468389 w 1409544"/>
              <a:gd name="connsiteY15" fmla="*/ 97914 h 1439037"/>
              <a:gd name="connsiteX16" fmla="*/ 704772 w 1409544"/>
              <a:gd name="connsiteY16" fmla="*/ 0 h 1439037"/>
              <a:gd name="connsiteX17" fmla="*/ 981977 w 1409544"/>
              <a:gd name="connsiteY17" fmla="*/ 147389 h 1439037"/>
              <a:gd name="connsiteX18" fmla="*/ 1007221 w 1409544"/>
              <a:gd name="connsiteY18" fmla="*/ 193898 h 1439037"/>
              <a:gd name="connsiteX19" fmla="*/ 1060122 w 1409544"/>
              <a:gd name="connsiteY19" fmla="*/ 192506 h 1439037"/>
              <a:gd name="connsiteX20" fmla="*/ 1326366 w 1409544"/>
              <a:gd name="connsiteY20" fmla="*/ 358878 h 1439037"/>
              <a:gd name="connsiteX21" fmla="*/ 1359763 w 1409544"/>
              <a:gd name="connsiteY21" fmla="*/ 612549 h 1439037"/>
              <a:gd name="connsiteX22" fmla="*/ 1352311 w 1409544"/>
              <a:gd name="connsiteY22" fmla="*/ 632504 h 1439037"/>
              <a:gd name="connsiteX23" fmla="*/ 1364674 w 1409544"/>
              <a:gd name="connsiteY23" fmla="*/ 649852 h 1439037"/>
              <a:gd name="connsiteX24" fmla="*/ 1398070 w 1409544"/>
              <a:gd name="connsiteY24" fmla="*/ 903523 h 1439037"/>
              <a:gd name="connsiteX25" fmla="*/ 1339016 w 1409544"/>
              <a:gd name="connsiteY25" fmla="*/ 1022413 h 1439037"/>
              <a:gd name="connsiteX26" fmla="*/ 1301305 w 1409544"/>
              <a:gd name="connsiteY26" fmla="*/ 1062163 h 1439037"/>
              <a:gd name="connsiteX27" fmla="*/ 1285737 w 1409544"/>
              <a:gd name="connsiteY27" fmla="*/ 1114695 h 1439037"/>
              <a:gd name="connsiteX28" fmla="*/ 1212302 w 1409544"/>
              <a:gd name="connsiteY28" fmla="*/ 1225282 h 1439037"/>
              <a:gd name="connsiteX29" fmla="*/ 975918 w 1409544"/>
              <a:gd name="connsiteY29" fmla="*/ 1323196 h 1439037"/>
              <a:gd name="connsiteX30" fmla="*/ 955606 w 1409544"/>
              <a:gd name="connsiteY30" fmla="*/ 1321249 h 1439037"/>
              <a:gd name="connsiteX31" fmla="*/ 939208 w 1409544"/>
              <a:gd name="connsiteY31" fmla="*/ 1341124 h 1439037"/>
              <a:gd name="connsiteX32" fmla="*/ 702824 w 1409544"/>
              <a:gd name="connsiteY32" fmla="*/ 1439037 h 1439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09544" h="1439037">
                <a:moveTo>
                  <a:pt x="702824" y="1439037"/>
                </a:moveTo>
                <a:cubicBezTo>
                  <a:pt x="587432" y="1439037"/>
                  <a:pt x="485696" y="1380572"/>
                  <a:pt x="425620" y="1291649"/>
                </a:cubicBezTo>
                <a:lnTo>
                  <a:pt x="398515" y="1241712"/>
                </a:lnTo>
                <a:lnTo>
                  <a:pt x="349422" y="1243004"/>
                </a:lnTo>
                <a:cubicBezTo>
                  <a:pt x="242374" y="1235439"/>
                  <a:pt x="140874" y="1176565"/>
                  <a:pt x="83178" y="1076633"/>
                </a:cubicBezTo>
                <a:cubicBezTo>
                  <a:pt x="37021" y="996687"/>
                  <a:pt x="27638" y="905601"/>
                  <a:pt x="49781" y="822962"/>
                </a:cubicBezTo>
                <a:lnTo>
                  <a:pt x="57233" y="803005"/>
                </a:lnTo>
                <a:lnTo>
                  <a:pt x="44870" y="785656"/>
                </a:lnTo>
                <a:cubicBezTo>
                  <a:pt x="2093" y="711564"/>
                  <a:pt x="-12419" y="621153"/>
                  <a:pt x="11474" y="531985"/>
                </a:cubicBezTo>
                <a:cubicBezTo>
                  <a:pt x="23420" y="487401"/>
                  <a:pt x="43836" y="447349"/>
                  <a:pt x="70528" y="413095"/>
                </a:cubicBezTo>
                <a:lnTo>
                  <a:pt x="108238" y="373346"/>
                </a:lnTo>
                <a:lnTo>
                  <a:pt x="123807" y="320811"/>
                </a:lnTo>
                <a:cubicBezTo>
                  <a:pt x="140126" y="280569"/>
                  <a:pt x="164605" y="242861"/>
                  <a:pt x="197242" y="210224"/>
                </a:cubicBezTo>
                <a:cubicBezTo>
                  <a:pt x="262518" y="144948"/>
                  <a:pt x="348072" y="112310"/>
                  <a:pt x="433627" y="112310"/>
                </a:cubicBezTo>
                <a:lnTo>
                  <a:pt x="454833" y="114343"/>
                </a:lnTo>
                <a:lnTo>
                  <a:pt x="468389" y="97914"/>
                </a:lnTo>
                <a:cubicBezTo>
                  <a:pt x="528885" y="37418"/>
                  <a:pt x="612459" y="0"/>
                  <a:pt x="704772" y="0"/>
                </a:cubicBezTo>
                <a:cubicBezTo>
                  <a:pt x="820164" y="0"/>
                  <a:pt x="921901" y="58465"/>
                  <a:pt x="981977" y="147389"/>
                </a:cubicBezTo>
                <a:lnTo>
                  <a:pt x="1007221" y="193898"/>
                </a:lnTo>
                <a:lnTo>
                  <a:pt x="1060122" y="192506"/>
                </a:lnTo>
                <a:cubicBezTo>
                  <a:pt x="1167170" y="200071"/>
                  <a:pt x="1268670" y="258945"/>
                  <a:pt x="1326366" y="358878"/>
                </a:cubicBezTo>
                <a:cubicBezTo>
                  <a:pt x="1372523" y="438824"/>
                  <a:pt x="1381906" y="529910"/>
                  <a:pt x="1359763" y="612549"/>
                </a:cubicBezTo>
                <a:lnTo>
                  <a:pt x="1352311" y="632504"/>
                </a:lnTo>
                <a:lnTo>
                  <a:pt x="1364674" y="649852"/>
                </a:lnTo>
                <a:cubicBezTo>
                  <a:pt x="1407451" y="723944"/>
                  <a:pt x="1421963" y="814355"/>
                  <a:pt x="1398070" y="903523"/>
                </a:cubicBezTo>
                <a:cubicBezTo>
                  <a:pt x="1386124" y="948107"/>
                  <a:pt x="1365708" y="988159"/>
                  <a:pt x="1339016" y="1022413"/>
                </a:cubicBezTo>
                <a:lnTo>
                  <a:pt x="1301305" y="1062163"/>
                </a:lnTo>
                <a:lnTo>
                  <a:pt x="1285737" y="1114695"/>
                </a:lnTo>
                <a:cubicBezTo>
                  <a:pt x="1269418" y="1154937"/>
                  <a:pt x="1244939" y="1192645"/>
                  <a:pt x="1212302" y="1225282"/>
                </a:cubicBezTo>
                <a:cubicBezTo>
                  <a:pt x="1147026" y="1290558"/>
                  <a:pt x="1061472" y="1323196"/>
                  <a:pt x="975918" y="1323196"/>
                </a:cubicBezTo>
                <a:lnTo>
                  <a:pt x="955606" y="1321249"/>
                </a:lnTo>
                <a:lnTo>
                  <a:pt x="939208" y="1341124"/>
                </a:lnTo>
                <a:cubicBezTo>
                  <a:pt x="878712" y="1401620"/>
                  <a:pt x="795138" y="1439037"/>
                  <a:pt x="702824" y="14390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A55E01E8-4176-4ACE-35E0-80D1E986926D}"/>
              </a:ext>
            </a:extLst>
          </p:cNvPr>
          <p:cNvSpPr/>
          <p:nvPr/>
        </p:nvSpPr>
        <p:spPr>
          <a:xfrm rot="4314755">
            <a:off x="7012408" y="4226555"/>
            <a:ext cx="1765780" cy="1802728"/>
          </a:xfrm>
          <a:custGeom>
            <a:avLst/>
            <a:gdLst>
              <a:gd name="connsiteX0" fmla="*/ 702824 w 1409544"/>
              <a:gd name="connsiteY0" fmla="*/ 1439037 h 1439037"/>
              <a:gd name="connsiteX1" fmla="*/ 425620 w 1409544"/>
              <a:gd name="connsiteY1" fmla="*/ 1291649 h 1439037"/>
              <a:gd name="connsiteX2" fmla="*/ 398515 w 1409544"/>
              <a:gd name="connsiteY2" fmla="*/ 1241712 h 1439037"/>
              <a:gd name="connsiteX3" fmla="*/ 349422 w 1409544"/>
              <a:gd name="connsiteY3" fmla="*/ 1243004 h 1439037"/>
              <a:gd name="connsiteX4" fmla="*/ 83178 w 1409544"/>
              <a:gd name="connsiteY4" fmla="*/ 1076633 h 1439037"/>
              <a:gd name="connsiteX5" fmla="*/ 49781 w 1409544"/>
              <a:gd name="connsiteY5" fmla="*/ 822962 h 1439037"/>
              <a:gd name="connsiteX6" fmla="*/ 57233 w 1409544"/>
              <a:gd name="connsiteY6" fmla="*/ 803005 h 1439037"/>
              <a:gd name="connsiteX7" fmla="*/ 44870 w 1409544"/>
              <a:gd name="connsiteY7" fmla="*/ 785656 h 1439037"/>
              <a:gd name="connsiteX8" fmla="*/ 11474 w 1409544"/>
              <a:gd name="connsiteY8" fmla="*/ 531985 h 1439037"/>
              <a:gd name="connsiteX9" fmla="*/ 70528 w 1409544"/>
              <a:gd name="connsiteY9" fmla="*/ 413095 h 1439037"/>
              <a:gd name="connsiteX10" fmla="*/ 108238 w 1409544"/>
              <a:gd name="connsiteY10" fmla="*/ 373346 h 1439037"/>
              <a:gd name="connsiteX11" fmla="*/ 123807 w 1409544"/>
              <a:gd name="connsiteY11" fmla="*/ 320811 h 1439037"/>
              <a:gd name="connsiteX12" fmla="*/ 197242 w 1409544"/>
              <a:gd name="connsiteY12" fmla="*/ 210224 h 1439037"/>
              <a:gd name="connsiteX13" fmla="*/ 433627 w 1409544"/>
              <a:gd name="connsiteY13" fmla="*/ 112310 h 1439037"/>
              <a:gd name="connsiteX14" fmla="*/ 454833 w 1409544"/>
              <a:gd name="connsiteY14" fmla="*/ 114343 h 1439037"/>
              <a:gd name="connsiteX15" fmla="*/ 468389 w 1409544"/>
              <a:gd name="connsiteY15" fmla="*/ 97914 h 1439037"/>
              <a:gd name="connsiteX16" fmla="*/ 704772 w 1409544"/>
              <a:gd name="connsiteY16" fmla="*/ 0 h 1439037"/>
              <a:gd name="connsiteX17" fmla="*/ 981977 w 1409544"/>
              <a:gd name="connsiteY17" fmla="*/ 147389 h 1439037"/>
              <a:gd name="connsiteX18" fmla="*/ 1007221 w 1409544"/>
              <a:gd name="connsiteY18" fmla="*/ 193898 h 1439037"/>
              <a:gd name="connsiteX19" fmla="*/ 1060122 w 1409544"/>
              <a:gd name="connsiteY19" fmla="*/ 192506 h 1439037"/>
              <a:gd name="connsiteX20" fmla="*/ 1326366 w 1409544"/>
              <a:gd name="connsiteY20" fmla="*/ 358878 h 1439037"/>
              <a:gd name="connsiteX21" fmla="*/ 1359763 w 1409544"/>
              <a:gd name="connsiteY21" fmla="*/ 612549 h 1439037"/>
              <a:gd name="connsiteX22" fmla="*/ 1352311 w 1409544"/>
              <a:gd name="connsiteY22" fmla="*/ 632504 h 1439037"/>
              <a:gd name="connsiteX23" fmla="*/ 1364674 w 1409544"/>
              <a:gd name="connsiteY23" fmla="*/ 649852 h 1439037"/>
              <a:gd name="connsiteX24" fmla="*/ 1398070 w 1409544"/>
              <a:gd name="connsiteY24" fmla="*/ 903523 h 1439037"/>
              <a:gd name="connsiteX25" fmla="*/ 1339016 w 1409544"/>
              <a:gd name="connsiteY25" fmla="*/ 1022413 h 1439037"/>
              <a:gd name="connsiteX26" fmla="*/ 1301305 w 1409544"/>
              <a:gd name="connsiteY26" fmla="*/ 1062163 h 1439037"/>
              <a:gd name="connsiteX27" fmla="*/ 1285737 w 1409544"/>
              <a:gd name="connsiteY27" fmla="*/ 1114695 h 1439037"/>
              <a:gd name="connsiteX28" fmla="*/ 1212302 w 1409544"/>
              <a:gd name="connsiteY28" fmla="*/ 1225282 h 1439037"/>
              <a:gd name="connsiteX29" fmla="*/ 975918 w 1409544"/>
              <a:gd name="connsiteY29" fmla="*/ 1323196 h 1439037"/>
              <a:gd name="connsiteX30" fmla="*/ 955606 w 1409544"/>
              <a:gd name="connsiteY30" fmla="*/ 1321249 h 1439037"/>
              <a:gd name="connsiteX31" fmla="*/ 939208 w 1409544"/>
              <a:gd name="connsiteY31" fmla="*/ 1341124 h 1439037"/>
              <a:gd name="connsiteX32" fmla="*/ 702824 w 1409544"/>
              <a:gd name="connsiteY32" fmla="*/ 1439037 h 1439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409544" h="1439037">
                <a:moveTo>
                  <a:pt x="702824" y="1439037"/>
                </a:moveTo>
                <a:cubicBezTo>
                  <a:pt x="587432" y="1439037"/>
                  <a:pt x="485696" y="1380572"/>
                  <a:pt x="425620" y="1291649"/>
                </a:cubicBezTo>
                <a:lnTo>
                  <a:pt x="398515" y="1241712"/>
                </a:lnTo>
                <a:lnTo>
                  <a:pt x="349422" y="1243004"/>
                </a:lnTo>
                <a:cubicBezTo>
                  <a:pt x="242374" y="1235439"/>
                  <a:pt x="140874" y="1176565"/>
                  <a:pt x="83178" y="1076633"/>
                </a:cubicBezTo>
                <a:cubicBezTo>
                  <a:pt x="37021" y="996687"/>
                  <a:pt x="27638" y="905601"/>
                  <a:pt x="49781" y="822962"/>
                </a:cubicBezTo>
                <a:lnTo>
                  <a:pt x="57233" y="803005"/>
                </a:lnTo>
                <a:lnTo>
                  <a:pt x="44870" y="785656"/>
                </a:lnTo>
                <a:cubicBezTo>
                  <a:pt x="2093" y="711564"/>
                  <a:pt x="-12419" y="621153"/>
                  <a:pt x="11474" y="531985"/>
                </a:cubicBezTo>
                <a:cubicBezTo>
                  <a:pt x="23420" y="487401"/>
                  <a:pt x="43836" y="447349"/>
                  <a:pt x="70528" y="413095"/>
                </a:cubicBezTo>
                <a:lnTo>
                  <a:pt x="108238" y="373346"/>
                </a:lnTo>
                <a:lnTo>
                  <a:pt x="123807" y="320811"/>
                </a:lnTo>
                <a:cubicBezTo>
                  <a:pt x="140126" y="280569"/>
                  <a:pt x="164605" y="242861"/>
                  <a:pt x="197242" y="210224"/>
                </a:cubicBezTo>
                <a:cubicBezTo>
                  <a:pt x="262518" y="144948"/>
                  <a:pt x="348072" y="112310"/>
                  <a:pt x="433627" y="112310"/>
                </a:cubicBezTo>
                <a:lnTo>
                  <a:pt x="454833" y="114343"/>
                </a:lnTo>
                <a:lnTo>
                  <a:pt x="468389" y="97914"/>
                </a:lnTo>
                <a:cubicBezTo>
                  <a:pt x="528885" y="37418"/>
                  <a:pt x="612459" y="0"/>
                  <a:pt x="704772" y="0"/>
                </a:cubicBezTo>
                <a:cubicBezTo>
                  <a:pt x="820164" y="0"/>
                  <a:pt x="921901" y="58465"/>
                  <a:pt x="981977" y="147389"/>
                </a:cubicBezTo>
                <a:lnTo>
                  <a:pt x="1007221" y="193898"/>
                </a:lnTo>
                <a:lnTo>
                  <a:pt x="1060122" y="192506"/>
                </a:lnTo>
                <a:cubicBezTo>
                  <a:pt x="1167170" y="200071"/>
                  <a:pt x="1268670" y="258945"/>
                  <a:pt x="1326366" y="358878"/>
                </a:cubicBezTo>
                <a:cubicBezTo>
                  <a:pt x="1372523" y="438824"/>
                  <a:pt x="1381906" y="529910"/>
                  <a:pt x="1359763" y="612549"/>
                </a:cubicBezTo>
                <a:lnTo>
                  <a:pt x="1352311" y="632504"/>
                </a:lnTo>
                <a:lnTo>
                  <a:pt x="1364674" y="649852"/>
                </a:lnTo>
                <a:cubicBezTo>
                  <a:pt x="1407451" y="723944"/>
                  <a:pt x="1421963" y="814355"/>
                  <a:pt x="1398070" y="903523"/>
                </a:cubicBezTo>
                <a:cubicBezTo>
                  <a:pt x="1386124" y="948107"/>
                  <a:pt x="1365708" y="988159"/>
                  <a:pt x="1339016" y="1022413"/>
                </a:cubicBezTo>
                <a:lnTo>
                  <a:pt x="1301305" y="1062163"/>
                </a:lnTo>
                <a:lnTo>
                  <a:pt x="1285737" y="1114695"/>
                </a:lnTo>
                <a:cubicBezTo>
                  <a:pt x="1269418" y="1154937"/>
                  <a:pt x="1244939" y="1192645"/>
                  <a:pt x="1212302" y="1225282"/>
                </a:cubicBezTo>
                <a:cubicBezTo>
                  <a:pt x="1147026" y="1290558"/>
                  <a:pt x="1061472" y="1323196"/>
                  <a:pt x="975918" y="1323196"/>
                </a:cubicBezTo>
                <a:lnTo>
                  <a:pt x="955606" y="1321249"/>
                </a:lnTo>
                <a:lnTo>
                  <a:pt x="939208" y="1341124"/>
                </a:lnTo>
                <a:cubicBezTo>
                  <a:pt x="878712" y="1401620"/>
                  <a:pt x="795138" y="1439037"/>
                  <a:pt x="702824" y="14390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1952727-1C84-B566-17B2-A263698A4818}"/>
              </a:ext>
            </a:extLst>
          </p:cNvPr>
          <p:cNvSpPr/>
          <p:nvPr/>
        </p:nvSpPr>
        <p:spPr>
          <a:xfrm>
            <a:off x="5242591" y="3736258"/>
            <a:ext cx="1706818" cy="2510766"/>
          </a:xfrm>
          <a:custGeom>
            <a:avLst/>
            <a:gdLst>
              <a:gd name="connsiteX0" fmla="*/ 638907 w 1706818"/>
              <a:gd name="connsiteY0" fmla="*/ 0 h 2510766"/>
              <a:gd name="connsiteX1" fmla="*/ 1067912 w 1706818"/>
              <a:gd name="connsiteY1" fmla="*/ 0 h 2510766"/>
              <a:gd name="connsiteX2" fmla="*/ 1066876 w 1706818"/>
              <a:gd name="connsiteY2" fmla="*/ 30570 h 2510766"/>
              <a:gd name="connsiteX3" fmla="*/ 1278027 w 1706818"/>
              <a:gd name="connsiteY3" fmla="*/ 1328884 h 2510766"/>
              <a:gd name="connsiteX4" fmla="*/ 1690205 w 1706818"/>
              <a:gd name="connsiteY4" fmla="*/ 2480162 h 2510766"/>
              <a:gd name="connsiteX5" fmla="*/ 1706818 w 1706818"/>
              <a:gd name="connsiteY5" fmla="*/ 2510766 h 2510766"/>
              <a:gd name="connsiteX6" fmla="*/ 0 w 1706818"/>
              <a:gd name="connsiteY6" fmla="*/ 2510766 h 2510766"/>
              <a:gd name="connsiteX7" fmla="*/ 16613 w 1706818"/>
              <a:gd name="connsiteY7" fmla="*/ 2480161 h 2510766"/>
              <a:gd name="connsiteX8" fmla="*/ 428792 w 1706818"/>
              <a:gd name="connsiteY8" fmla="*/ 1328883 h 2510766"/>
              <a:gd name="connsiteX9" fmla="*/ 639942 w 1706818"/>
              <a:gd name="connsiteY9" fmla="*/ 30569 h 2510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06818" h="2510766">
                <a:moveTo>
                  <a:pt x="638907" y="0"/>
                </a:moveTo>
                <a:lnTo>
                  <a:pt x="1067912" y="0"/>
                </a:lnTo>
                <a:lnTo>
                  <a:pt x="1066876" y="30570"/>
                </a:lnTo>
                <a:cubicBezTo>
                  <a:pt x="1065149" y="324468"/>
                  <a:pt x="1139001" y="801924"/>
                  <a:pt x="1278027" y="1328884"/>
                </a:cubicBezTo>
                <a:cubicBezTo>
                  <a:pt x="1403151" y="1803149"/>
                  <a:pt x="1554414" y="2216490"/>
                  <a:pt x="1690205" y="2480162"/>
                </a:cubicBezTo>
                <a:lnTo>
                  <a:pt x="1706818" y="2510766"/>
                </a:lnTo>
                <a:lnTo>
                  <a:pt x="0" y="2510766"/>
                </a:lnTo>
                <a:lnTo>
                  <a:pt x="16613" y="2480161"/>
                </a:lnTo>
                <a:cubicBezTo>
                  <a:pt x="152404" y="2216489"/>
                  <a:pt x="303668" y="1803148"/>
                  <a:pt x="428792" y="1328883"/>
                </a:cubicBezTo>
                <a:cubicBezTo>
                  <a:pt x="567818" y="801923"/>
                  <a:pt x="641669" y="324467"/>
                  <a:pt x="639942" y="3056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EEB91DB-B1EE-85A3-D632-43CA3ACBCB2B}"/>
              </a:ext>
            </a:extLst>
          </p:cNvPr>
          <p:cNvSpPr/>
          <p:nvPr/>
        </p:nvSpPr>
        <p:spPr>
          <a:xfrm>
            <a:off x="4692000" y="5525730"/>
            <a:ext cx="2808000" cy="9252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F7D9D24-F8DA-00DC-98A4-2EC9F635382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6096001 w 12192000"/>
              <a:gd name="connsiteY0" fmla="*/ 744794 h 6858000"/>
              <a:gd name="connsiteX1" fmla="*/ 3411794 w 12192000"/>
              <a:gd name="connsiteY1" fmla="*/ 3429001 h 6858000"/>
              <a:gd name="connsiteX2" fmla="*/ 6096001 w 12192000"/>
              <a:gd name="connsiteY2" fmla="*/ 6113208 h 6858000"/>
              <a:gd name="connsiteX3" fmla="*/ 8780208 w 12192000"/>
              <a:gd name="connsiteY3" fmla="*/ 3429001 h 6858000"/>
              <a:gd name="connsiteX4" fmla="*/ 6096001 w 12192000"/>
              <a:gd name="connsiteY4" fmla="*/ 744794 h 6858000"/>
              <a:gd name="connsiteX5" fmla="*/ 0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6096001" y="744794"/>
                </a:moveTo>
                <a:cubicBezTo>
                  <a:pt x="4613554" y="744794"/>
                  <a:pt x="3411794" y="1946554"/>
                  <a:pt x="3411794" y="3429001"/>
                </a:cubicBezTo>
                <a:cubicBezTo>
                  <a:pt x="3411794" y="4911448"/>
                  <a:pt x="4613554" y="6113208"/>
                  <a:pt x="6096001" y="6113208"/>
                </a:cubicBezTo>
                <a:cubicBezTo>
                  <a:pt x="7578448" y="6113208"/>
                  <a:pt x="8780208" y="4911448"/>
                  <a:pt x="8780208" y="3429001"/>
                </a:cubicBezTo>
                <a:cubicBezTo>
                  <a:pt x="8780208" y="1946554"/>
                  <a:pt x="7578448" y="744794"/>
                  <a:pt x="6096001" y="74479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8911778-4CAC-9F11-E349-56C41EA8E466}"/>
              </a:ext>
            </a:extLst>
          </p:cNvPr>
          <p:cNvGrpSpPr/>
          <p:nvPr/>
        </p:nvGrpSpPr>
        <p:grpSpPr>
          <a:xfrm>
            <a:off x="4586254" y="1714566"/>
            <a:ext cx="520544" cy="520542"/>
            <a:chOff x="3632133" y="2113153"/>
            <a:chExt cx="1059867" cy="1059867"/>
          </a:xfrm>
          <a:solidFill>
            <a:srgbClr val="FFFF00"/>
          </a:solidFill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F68D624-569E-5A0B-53D3-5DD786AF72F6}"/>
                </a:ext>
              </a:extLst>
            </p:cNvPr>
            <p:cNvGrpSpPr/>
            <p:nvPr/>
          </p:nvGrpSpPr>
          <p:grpSpPr>
            <a:xfrm>
              <a:off x="3632133" y="2113153"/>
              <a:ext cx="1059867" cy="1059867"/>
              <a:chOff x="3493529" y="2143431"/>
              <a:chExt cx="1059867" cy="1059867"/>
            </a:xfrm>
            <a:grpFill/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BD577DAA-84FF-20C8-85E1-2F12667A99ED}"/>
                  </a:ext>
                </a:extLst>
              </p:cNvPr>
              <p:cNvGrpSpPr/>
              <p:nvPr/>
            </p:nvGrpSpPr>
            <p:grpSpPr>
              <a:xfrm>
                <a:off x="3982064" y="2143431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32" name="Isosceles Triangle 31">
                  <a:extLst>
                    <a:ext uri="{FF2B5EF4-FFF2-40B4-BE49-F238E27FC236}">
                      <a16:creationId xmlns:a16="http://schemas.microsoft.com/office/drawing/2014/main" id="{1DA83F5C-9D35-8DC8-3650-A2EAAAD7A90A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33" name="Isosceles Triangle 32">
                  <a:extLst>
                    <a:ext uri="{FF2B5EF4-FFF2-40B4-BE49-F238E27FC236}">
                      <a16:creationId xmlns:a16="http://schemas.microsoft.com/office/drawing/2014/main" id="{2E6FD431-9755-A289-CEDA-5E48E0969247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552E342E-E508-C2A3-E1AA-52CB47D1E1E5}"/>
                  </a:ext>
                </a:extLst>
              </p:cNvPr>
              <p:cNvGrpSpPr/>
              <p:nvPr/>
            </p:nvGrpSpPr>
            <p:grpSpPr>
              <a:xfrm rot="5400000">
                <a:off x="3982063" y="2108612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36" name="Isosceles Triangle 35">
                  <a:extLst>
                    <a:ext uri="{FF2B5EF4-FFF2-40B4-BE49-F238E27FC236}">
                      <a16:creationId xmlns:a16="http://schemas.microsoft.com/office/drawing/2014/main" id="{AED1A7E7-8027-9418-4FF0-29DE0CD1D2DF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37" name="Isosceles Triangle 36">
                  <a:extLst>
                    <a:ext uri="{FF2B5EF4-FFF2-40B4-BE49-F238E27FC236}">
                      <a16:creationId xmlns:a16="http://schemas.microsoft.com/office/drawing/2014/main" id="{49846030-748B-C18C-F999-0E2B94D5847D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6BE4199E-6D06-9467-7CC2-8454D59D83F3}"/>
                </a:ext>
              </a:extLst>
            </p:cNvPr>
            <p:cNvGrpSpPr/>
            <p:nvPr/>
          </p:nvGrpSpPr>
          <p:grpSpPr>
            <a:xfrm rot="2700000">
              <a:off x="3781031" y="2252608"/>
              <a:ext cx="756340" cy="756340"/>
              <a:chOff x="3493529" y="2143431"/>
              <a:chExt cx="1059867" cy="1059867"/>
            </a:xfrm>
            <a:grpFill/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2744B54D-6C85-FA2D-3D3A-62DBC89DD1CA}"/>
                  </a:ext>
                </a:extLst>
              </p:cNvPr>
              <p:cNvGrpSpPr/>
              <p:nvPr/>
            </p:nvGrpSpPr>
            <p:grpSpPr>
              <a:xfrm>
                <a:off x="3982064" y="2143431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44" name="Isosceles Triangle 43">
                  <a:extLst>
                    <a:ext uri="{FF2B5EF4-FFF2-40B4-BE49-F238E27FC236}">
                      <a16:creationId xmlns:a16="http://schemas.microsoft.com/office/drawing/2014/main" id="{60F93AA9-8448-2DB6-6F6D-C533E51B0D5C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45" name="Isosceles Triangle 44">
                  <a:extLst>
                    <a:ext uri="{FF2B5EF4-FFF2-40B4-BE49-F238E27FC236}">
                      <a16:creationId xmlns:a16="http://schemas.microsoft.com/office/drawing/2014/main" id="{4F413552-6F34-BDCA-B224-347EAD51EAE9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7B0A670A-8857-AF13-7A56-EA2CFCCC4C05}"/>
                  </a:ext>
                </a:extLst>
              </p:cNvPr>
              <p:cNvGrpSpPr/>
              <p:nvPr/>
            </p:nvGrpSpPr>
            <p:grpSpPr>
              <a:xfrm rot="5400000">
                <a:off x="3982063" y="2108612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42" name="Isosceles Triangle 41">
                  <a:extLst>
                    <a:ext uri="{FF2B5EF4-FFF2-40B4-BE49-F238E27FC236}">
                      <a16:creationId xmlns:a16="http://schemas.microsoft.com/office/drawing/2014/main" id="{C9E942C5-5115-F7BB-4DC9-14FDB193EA20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43" name="Isosceles Triangle 42">
                  <a:extLst>
                    <a:ext uri="{FF2B5EF4-FFF2-40B4-BE49-F238E27FC236}">
                      <a16:creationId xmlns:a16="http://schemas.microsoft.com/office/drawing/2014/main" id="{D7D215FC-218C-1F0E-D768-75204DF180C4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28DDF25-A382-7C77-1D4A-3F9D4CF92004}"/>
              </a:ext>
            </a:extLst>
          </p:cNvPr>
          <p:cNvGrpSpPr/>
          <p:nvPr/>
        </p:nvGrpSpPr>
        <p:grpSpPr>
          <a:xfrm>
            <a:off x="7053192" y="3380662"/>
            <a:ext cx="441300" cy="441300"/>
            <a:chOff x="3632133" y="2113153"/>
            <a:chExt cx="1059867" cy="1059867"/>
          </a:xfrm>
          <a:solidFill>
            <a:srgbClr val="FFFF00"/>
          </a:solidFill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D474587-413E-9CE8-8A4B-7549F0C26683}"/>
                </a:ext>
              </a:extLst>
            </p:cNvPr>
            <p:cNvGrpSpPr/>
            <p:nvPr/>
          </p:nvGrpSpPr>
          <p:grpSpPr>
            <a:xfrm>
              <a:off x="3632133" y="2113153"/>
              <a:ext cx="1059867" cy="1059867"/>
              <a:chOff x="3493529" y="2143431"/>
              <a:chExt cx="1059867" cy="1059867"/>
            </a:xfrm>
            <a:grpFill/>
          </p:grpSpPr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845487AF-5D7D-88DB-F919-94B1DE6F1935}"/>
                  </a:ext>
                </a:extLst>
              </p:cNvPr>
              <p:cNvGrpSpPr/>
              <p:nvPr/>
            </p:nvGrpSpPr>
            <p:grpSpPr>
              <a:xfrm>
                <a:off x="3982064" y="2143431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60" name="Isosceles Triangle 59">
                  <a:extLst>
                    <a:ext uri="{FF2B5EF4-FFF2-40B4-BE49-F238E27FC236}">
                      <a16:creationId xmlns:a16="http://schemas.microsoft.com/office/drawing/2014/main" id="{7C2099B8-93E4-BB3E-2B39-29B211FE1873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61" name="Isosceles Triangle 60">
                  <a:extLst>
                    <a:ext uri="{FF2B5EF4-FFF2-40B4-BE49-F238E27FC236}">
                      <a16:creationId xmlns:a16="http://schemas.microsoft.com/office/drawing/2014/main" id="{E451DFE3-A665-70FF-F48D-76CD7CCDAC0A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1718F422-1AA1-F78B-93EC-69A773ACCACF}"/>
                  </a:ext>
                </a:extLst>
              </p:cNvPr>
              <p:cNvGrpSpPr/>
              <p:nvPr/>
            </p:nvGrpSpPr>
            <p:grpSpPr>
              <a:xfrm rot="5400000">
                <a:off x="3982063" y="2108612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58" name="Isosceles Triangle 57">
                  <a:extLst>
                    <a:ext uri="{FF2B5EF4-FFF2-40B4-BE49-F238E27FC236}">
                      <a16:creationId xmlns:a16="http://schemas.microsoft.com/office/drawing/2014/main" id="{DB527BDB-ECC0-15B0-0CEB-85FEB6143848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59" name="Isosceles Triangle 58">
                  <a:extLst>
                    <a:ext uri="{FF2B5EF4-FFF2-40B4-BE49-F238E27FC236}">
                      <a16:creationId xmlns:a16="http://schemas.microsoft.com/office/drawing/2014/main" id="{B6EAEE94-75E2-4AE8-556A-24054906101F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F1E471C-3E4A-1B8C-B861-C8238F220CF7}"/>
                </a:ext>
              </a:extLst>
            </p:cNvPr>
            <p:cNvGrpSpPr/>
            <p:nvPr/>
          </p:nvGrpSpPr>
          <p:grpSpPr>
            <a:xfrm rot="2700000">
              <a:off x="3781031" y="2252608"/>
              <a:ext cx="756340" cy="756340"/>
              <a:chOff x="3493529" y="2143431"/>
              <a:chExt cx="1059867" cy="1059867"/>
            </a:xfrm>
            <a:grpFill/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5912D092-4B63-8F16-0498-D8EC18A36B0E}"/>
                  </a:ext>
                </a:extLst>
              </p:cNvPr>
              <p:cNvGrpSpPr/>
              <p:nvPr/>
            </p:nvGrpSpPr>
            <p:grpSpPr>
              <a:xfrm>
                <a:off x="3982064" y="2143431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54" name="Isosceles Triangle 53">
                  <a:extLst>
                    <a:ext uri="{FF2B5EF4-FFF2-40B4-BE49-F238E27FC236}">
                      <a16:creationId xmlns:a16="http://schemas.microsoft.com/office/drawing/2014/main" id="{58386AF9-F18C-3FF3-7F5D-53964193CB87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55" name="Isosceles Triangle 54">
                  <a:extLst>
                    <a:ext uri="{FF2B5EF4-FFF2-40B4-BE49-F238E27FC236}">
                      <a16:creationId xmlns:a16="http://schemas.microsoft.com/office/drawing/2014/main" id="{926A27AA-9859-4BD3-A712-905FFECD8DD4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C1272C1D-0ED9-EB18-EFDB-5B462486FCFD}"/>
                  </a:ext>
                </a:extLst>
              </p:cNvPr>
              <p:cNvGrpSpPr/>
              <p:nvPr/>
            </p:nvGrpSpPr>
            <p:grpSpPr>
              <a:xfrm rot="5400000">
                <a:off x="3982063" y="2108612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52" name="Isosceles Triangle 51">
                  <a:extLst>
                    <a:ext uri="{FF2B5EF4-FFF2-40B4-BE49-F238E27FC236}">
                      <a16:creationId xmlns:a16="http://schemas.microsoft.com/office/drawing/2014/main" id="{4BDC2457-A49A-2463-2A25-F3B52AB13769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53" name="Isosceles Triangle 52">
                  <a:extLst>
                    <a:ext uri="{FF2B5EF4-FFF2-40B4-BE49-F238E27FC236}">
                      <a16:creationId xmlns:a16="http://schemas.microsoft.com/office/drawing/2014/main" id="{BC6F3E72-4FD0-9901-508F-9D9386759FFA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A8CE636-363E-2DEF-6BDF-955A79260F1A}"/>
              </a:ext>
            </a:extLst>
          </p:cNvPr>
          <p:cNvGrpSpPr/>
          <p:nvPr/>
        </p:nvGrpSpPr>
        <p:grpSpPr>
          <a:xfrm>
            <a:off x="4935395" y="3823994"/>
            <a:ext cx="441300" cy="441300"/>
            <a:chOff x="3632133" y="2113153"/>
            <a:chExt cx="1059867" cy="1059867"/>
          </a:xfrm>
          <a:solidFill>
            <a:srgbClr val="FFC000"/>
          </a:solidFill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D7263DD-06FE-4CA0-2D05-B7C1ACF88219}"/>
                </a:ext>
              </a:extLst>
            </p:cNvPr>
            <p:cNvGrpSpPr/>
            <p:nvPr/>
          </p:nvGrpSpPr>
          <p:grpSpPr>
            <a:xfrm>
              <a:off x="3632133" y="2113153"/>
              <a:ext cx="1059867" cy="1059867"/>
              <a:chOff x="3493529" y="2143431"/>
              <a:chExt cx="1059867" cy="1059867"/>
            </a:xfrm>
            <a:grpFill/>
          </p:grpSpPr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D950C218-C06B-A529-B2E2-AC7CAD9FECF5}"/>
                  </a:ext>
                </a:extLst>
              </p:cNvPr>
              <p:cNvGrpSpPr/>
              <p:nvPr/>
            </p:nvGrpSpPr>
            <p:grpSpPr>
              <a:xfrm>
                <a:off x="3982064" y="2143431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75" name="Isosceles Triangle 74">
                  <a:extLst>
                    <a:ext uri="{FF2B5EF4-FFF2-40B4-BE49-F238E27FC236}">
                      <a16:creationId xmlns:a16="http://schemas.microsoft.com/office/drawing/2014/main" id="{166A88E0-EC93-F7CD-7FD1-0C2C8B679C2F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76" name="Isosceles Triangle 75">
                  <a:extLst>
                    <a:ext uri="{FF2B5EF4-FFF2-40B4-BE49-F238E27FC236}">
                      <a16:creationId xmlns:a16="http://schemas.microsoft.com/office/drawing/2014/main" id="{310EF537-C1A5-7D70-6B60-BA856C587E2F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C9A0132A-909C-D6D1-D107-C31FDF3C3253}"/>
                  </a:ext>
                </a:extLst>
              </p:cNvPr>
              <p:cNvGrpSpPr/>
              <p:nvPr/>
            </p:nvGrpSpPr>
            <p:grpSpPr>
              <a:xfrm rot="5400000">
                <a:off x="3982063" y="2108612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73" name="Isosceles Triangle 72">
                  <a:extLst>
                    <a:ext uri="{FF2B5EF4-FFF2-40B4-BE49-F238E27FC236}">
                      <a16:creationId xmlns:a16="http://schemas.microsoft.com/office/drawing/2014/main" id="{BAA58B6E-0993-8FCA-3C51-611D3F143FCF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74" name="Isosceles Triangle 73">
                  <a:extLst>
                    <a:ext uri="{FF2B5EF4-FFF2-40B4-BE49-F238E27FC236}">
                      <a16:creationId xmlns:a16="http://schemas.microsoft.com/office/drawing/2014/main" id="{3DBA5AB2-1C6C-C238-DB85-D03A02DB59E5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C67F096-7B14-1B99-778C-681C947A09EA}"/>
                </a:ext>
              </a:extLst>
            </p:cNvPr>
            <p:cNvGrpSpPr/>
            <p:nvPr/>
          </p:nvGrpSpPr>
          <p:grpSpPr>
            <a:xfrm rot="2700000">
              <a:off x="3781031" y="2252608"/>
              <a:ext cx="756340" cy="756340"/>
              <a:chOff x="3493529" y="2143431"/>
              <a:chExt cx="1059867" cy="1059867"/>
            </a:xfrm>
            <a:grpFill/>
          </p:grpSpPr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9C539802-E88F-FC0F-7ECF-66134A6492C1}"/>
                  </a:ext>
                </a:extLst>
              </p:cNvPr>
              <p:cNvGrpSpPr/>
              <p:nvPr/>
            </p:nvGrpSpPr>
            <p:grpSpPr>
              <a:xfrm>
                <a:off x="3982064" y="2143431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69" name="Isosceles Triangle 68">
                  <a:extLst>
                    <a:ext uri="{FF2B5EF4-FFF2-40B4-BE49-F238E27FC236}">
                      <a16:creationId xmlns:a16="http://schemas.microsoft.com/office/drawing/2014/main" id="{1CBCD7C6-B6D9-7EB8-7B80-C792281F208F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70" name="Isosceles Triangle 69">
                  <a:extLst>
                    <a:ext uri="{FF2B5EF4-FFF2-40B4-BE49-F238E27FC236}">
                      <a16:creationId xmlns:a16="http://schemas.microsoft.com/office/drawing/2014/main" id="{A72663BD-ABA8-CDE8-9187-963AB5E47A86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794256E8-1E6A-19ED-A178-80E1B14AC93E}"/>
                  </a:ext>
                </a:extLst>
              </p:cNvPr>
              <p:cNvGrpSpPr/>
              <p:nvPr/>
            </p:nvGrpSpPr>
            <p:grpSpPr>
              <a:xfrm rot="5400000">
                <a:off x="3982063" y="2108612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67" name="Isosceles Triangle 66">
                  <a:extLst>
                    <a:ext uri="{FF2B5EF4-FFF2-40B4-BE49-F238E27FC236}">
                      <a16:creationId xmlns:a16="http://schemas.microsoft.com/office/drawing/2014/main" id="{3C238661-54CF-3921-AF24-11DA8C1D1976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68" name="Isosceles Triangle 67">
                  <a:extLst>
                    <a:ext uri="{FF2B5EF4-FFF2-40B4-BE49-F238E27FC236}">
                      <a16:creationId xmlns:a16="http://schemas.microsoft.com/office/drawing/2014/main" id="{2A10C1AF-A6E1-8DC7-1750-714C73C87BF3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538373F-9928-2DE8-BF05-5EB319AF4925}"/>
              </a:ext>
            </a:extLst>
          </p:cNvPr>
          <p:cNvGrpSpPr/>
          <p:nvPr/>
        </p:nvGrpSpPr>
        <p:grpSpPr>
          <a:xfrm>
            <a:off x="7116116" y="1330071"/>
            <a:ext cx="520544" cy="520542"/>
            <a:chOff x="3632133" y="2113153"/>
            <a:chExt cx="1059867" cy="1059867"/>
          </a:xfrm>
          <a:solidFill>
            <a:srgbClr val="FFC000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58978744-2B5C-7FE7-AF87-0744C7A3AF34}"/>
                </a:ext>
              </a:extLst>
            </p:cNvPr>
            <p:cNvGrpSpPr/>
            <p:nvPr/>
          </p:nvGrpSpPr>
          <p:grpSpPr>
            <a:xfrm>
              <a:off x="3632133" y="2113153"/>
              <a:ext cx="1059867" cy="1059867"/>
              <a:chOff x="3493529" y="2143431"/>
              <a:chExt cx="1059867" cy="1059867"/>
            </a:xfrm>
            <a:grpFill/>
          </p:grpSpPr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747EF30A-A46C-911A-AAB6-82DC4D378BB0}"/>
                  </a:ext>
                </a:extLst>
              </p:cNvPr>
              <p:cNvGrpSpPr/>
              <p:nvPr/>
            </p:nvGrpSpPr>
            <p:grpSpPr>
              <a:xfrm>
                <a:off x="3982064" y="2143431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90" name="Isosceles Triangle 89">
                  <a:extLst>
                    <a:ext uri="{FF2B5EF4-FFF2-40B4-BE49-F238E27FC236}">
                      <a16:creationId xmlns:a16="http://schemas.microsoft.com/office/drawing/2014/main" id="{8273FFB2-D57C-EA80-DF60-28890CBF9C15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1" name="Isosceles Triangle 90">
                  <a:extLst>
                    <a:ext uri="{FF2B5EF4-FFF2-40B4-BE49-F238E27FC236}">
                      <a16:creationId xmlns:a16="http://schemas.microsoft.com/office/drawing/2014/main" id="{59FBEEC7-9070-FB24-4B19-8F0F40559518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34B8AC1A-1ECF-B762-A514-62CACA163B1E}"/>
                  </a:ext>
                </a:extLst>
              </p:cNvPr>
              <p:cNvGrpSpPr/>
              <p:nvPr/>
            </p:nvGrpSpPr>
            <p:grpSpPr>
              <a:xfrm rot="5400000">
                <a:off x="3982063" y="2108612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88" name="Isosceles Triangle 87">
                  <a:extLst>
                    <a:ext uri="{FF2B5EF4-FFF2-40B4-BE49-F238E27FC236}">
                      <a16:creationId xmlns:a16="http://schemas.microsoft.com/office/drawing/2014/main" id="{21E22852-8554-1A4E-6C67-055AA924434A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9" name="Isosceles Triangle 88">
                  <a:extLst>
                    <a:ext uri="{FF2B5EF4-FFF2-40B4-BE49-F238E27FC236}">
                      <a16:creationId xmlns:a16="http://schemas.microsoft.com/office/drawing/2014/main" id="{37157B0C-97C8-646B-5134-5A6CFE05584D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83179DDD-ABAF-E99A-3A13-7B812E97B200}"/>
                </a:ext>
              </a:extLst>
            </p:cNvPr>
            <p:cNvGrpSpPr/>
            <p:nvPr/>
          </p:nvGrpSpPr>
          <p:grpSpPr>
            <a:xfrm rot="2700000">
              <a:off x="3781031" y="2252608"/>
              <a:ext cx="756340" cy="756340"/>
              <a:chOff x="3493529" y="2143431"/>
              <a:chExt cx="1059867" cy="1059867"/>
            </a:xfrm>
            <a:grpFill/>
          </p:grpSpPr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4B232132-3D5F-4981-EE60-31E614F511F6}"/>
                  </a:ext>
                </a:extLst>
              </p:cNvPr>
              <p:cNvGrpSpPr/>
              <p:nvPr/>
            </p:nvGrpSpPr>
            <p:grpSpPr>
              <a:xfrm>
                <a:off x="3982064" y="2143431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84" name="Isosceles Triangle 83">
                  <a:extLst>
                    <a:ext uri="{FF2B5EF4-FFF2-40B4-BE49-F238E27FC236}">
                      <a16:creationId xmlns:a16="http://schemas.microsoft.com/office/drawing/2014/main" id="{7ABD729D-479F-30D5-6163-26E5C5B93DDE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5" name="Isosceles Triangle 84">
                  <a:extLst>
                    <a:ext uri="{FF2B5EF4-FFF2-40B4-BE49-F238E27FC236}">
                      <a16:creationId xmlns:a16="http://schemas.microsoft.com/office/drawing/2014/main" id="{100A5EE1-CFFD-5E5C-5B2E-D323E97751E0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50E3843E-34DA-4980-F79F-9E10C170EB6F}"/>
                  </a:ext>
                </a:extLst>
              </p:cNvPr>
              <p:cNvGrpSpPr/>
              <p:nvPr/>
            </p:nvGrpSpPr>
            <p:grpSpPr>
              <a:xfrm rot="5400000">
                <a:off x="3982063" y="2108612"/>
                <a:ext cx="82800" cy="1059867"/>
                <a:chOff x="3982064" y="2143431"/>
                <a:chExt cx="82800" cy="1059867"/>
              </a:xfrm>
              <a:grpFill/>
            </p:grpSpPr>
            <p:sp>
              <p:nvSpPr>
                <p:cNvPr id="82" name="Isosceles Triangle 81">
                  <a:extLst>
                    <a:ext uri="{FF2B5EF4-FFF2-40B4-BE49-F238E27FC236}">
                      <a16:creationId xmlns:a16="http://schemas.microsoft.com/office/drawing/2014/main" id="{0F5E9CD9-E177-7A25-02D7-2BCE64FC01AF}"/>
                    </a:ext>
                  </a:extLst>
                </p:cNvPr>
                <p:cNvSpPr/>
                <p:nvPr/>
              </p:nvSpPr>
              <p:spPr>
                <a:xfrm>
                  <a:off x="3982064" y="2143431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3" name="Isosceles Triangle 82">
                  <a:extLst>
                    <a:ext uri="{FF2B5EF4-FFF2-40B4-BE49-F238E27FC236}">
                      <a16:creationId xmlns:a16="http://schemas.microsoft.com/office/drawing/2014/main" id="{3E5D4A5D-895A-A395-FD7A-805D1BEE9E90}"/>
                    </a:ext>
                  </a:extLst>
                </p:cNvPr>
                <p:cNvSpPr/>
                <p:nvPr/>
              </p:nvSpPr>
              <p:spPr>
                <a:xfrm flipV="1">
                  <a:off x="3982064" y="2670498"/>
                  <a:ext cx="82800" cy="5328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09734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6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6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32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120000">
                                      <p:cBhvr>
                                        <p:cTn id="10" dur="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1" dur="50" fill="hold">
                                          <p:stCondLst>
                                            <p:cond delay="5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2" dur="5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50" fill="hold">
                                          <p:stCondLst>
                                            <p:cond delay="15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4" dur="5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64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1.875E-6 -3.7037E-6 L -1.875E-6 -0.5706 " pathEditMode="relative" rAng="0" ptsTypes="AA">
                                      <p:cBhvr>
                                        <p:cTn id="1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8542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5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125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250" tmFilter="0, 0; .2, .5; .8, .5; 1, 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125" autoRev="1" fill="hold"/>
                                        <p:tgtEl>
                                          <p:spTgt spid="7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25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125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25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125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ptos</vt:lpstr>
      <vt:lpstr>Aptos Display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KSON A/L RAJA SINGAM</dc:creator>
  <cp:lastModifiedBy>JACKSON A/L RAJA SINGAM</cp:lastModifiedBy>
  <cp:revision>1</cp:revision>
  <dcterms:created xsi:type="dcterms:W3CDTF">2024-10-09T13:44:29Z</dcterms:created>
  <dcterms:modified xsi:type="dcterms:W3CDTF">2024-10-09T14:13:55Z</dcterms:modified>
</cp:coreProperties>
</file>